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68"/>
    <p:restoredTop sz="95788"/>
  </p:normalViewPr>
  <p:slideViewPr>
    <p:cSldViewPr snapToGrid="0">
      <p:cViewPr varScale="1">
        <p:scale>
          <a:sx n="145" d="100"/>
          <a:sy n="145" d="100"/>
        </p:scale>
        <p:origin x="816" y="18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3.05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26. Dez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692771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Michaela Frank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Chef de Partie 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Restaurant Wart, Hünenberg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871755"/>
              </p:ext>
            </p:extLst>
          </p:nvPr>
        </p:nvGraphicFramePr>
        <p:xfrm>
          <a:off x="477715" y="1273810"/>
          <a:ext cx="8191500" cy="3398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289620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übersichtlich, 4/5,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, leicht aufgebaut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 zu bedienen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rklärungen sind verständlich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623798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Vergleichswert Vorjahr, schwierig wenn es spezielle Umstände gibt wie </a:t>
                      </a:r>
                      <a:r>
                        <a:rPr lang="de-DE" sz="1200" dirty="0" err="1"/>
                        <a:t>z.b.</a:t>
                      </a:r>
                      <a:r>
                        <a:rPr lang="de-DE" sz="1200" dirty="0"/>
                        <a:t> Corona. Bedarf Monat hinzufügen, weitere Erklärungen zu Bedarf in den Erklärungen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„geschätzter heutiger Bedarf Bedarfsvorhersage aktuell, 4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445570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n jedem Restaurant von Vorteil, um einen Richtwert für die Planung zu haben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Gute Verwendbarkeit einfach verständlich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119414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en Sie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edarf aktuell anders benenn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rklärung Bedarf Vorjahr, muss aus mehreren Variablen als nur 1 Jahr in der Vergangenheit beruh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Menüauswahl klingt komisch wenn </a:t>
            </a:r>
            <a:r>
              <a:rPr lang="de-DE" sz="1400">
                <a:solidFill>
                  <a:schemeClr val="tx1"/>
                </a:solidFill>
                <a:latin typeface="Calibri"/>
                <a:cs typeface="Calibri"/>
              </a:rPr>
              <a:t>Produkte vorgeschlagen 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werd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enutzung im Alltag vorstellbar, wenn man noch weitere Funktionen hinzufügt werden, wie z.B. Kopplung mit dem Reservationssystem, oder Bestell- und Lagersystem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673</Words>
  <Application>Microsoft Macintosh PowerPoint</Application>
  <PresentationFormat>Bildschirmpräsentation (16:9)</PresentationFormat>
  <Paragraphs>131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7</cp:revision>
  <cp:lastPrinted>2020-03-29T12:41:23Z</cp:lastPrinted>
  <dcterms:created xsi:type="dcterms:W3CDTF">2019-10-08T08:06:46Z</dcterms:created>
  <dcterms:modified xsi:type="dcterms:W3CDTF">2021-05-23T16:4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